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23"/>
  </p:notesMasterIdLst>
  <p:handoutMasterIdLst>
    <p:handoutMasterId r:id="rId324"/>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89" r:id="rId266"/>
    <p:sldId id="10559" r:id="rId267"/>
    <p:sldId id="10556" r:id="rId268"/>
    <p:sldId id="10555" r:id="rId269"/>
    <p:sldId id="10562" r:id="rId270"/>
    <p:sldId id="10566" r:id="rId271"/>
    <p:sldId id="10563" r:id="rId272"/>
    <p:sldId id="10567" r:id="rId273"/>
    <p:sldId id="10564" r:id="rId274"/>
    <p:sldId id="10565" r:id="rId275"/>
    <p:sldId id="10568" r:id="rId276"/>
    <p:sldId id="10579" r:id="rId277"/>
    <p:sldId id="10569" r:id="rId278"/>
    <p:sldId id="10575" r:id="rId279"/>
    <p:sldId id="10541" r:id="rId280"/>
    <p:sldId id="10576" r:id="rId281"/>
    <p:sldId id="10577" r:id="rId282"/>
    <p:sldId id="10578" r:id="rId283"/>
    <p:sldId id="10570" r:id="rId284"/>
    <p:sldId id="10571" r:id="rId285"/>
    <p:sldId id="10572" r:id="rId286"/>
    <p:sldId id="10573" r:id="rId287"/>
    <p:sldId id="10574" r:id="rId288"/>
    <p:sldId id="10540" r:id="rId289"/>
    <p:sldId id="10580" r:id="rId290"/>
    <p:sldId id="10542" r:id="rId291"/>
    <p:sldId id="10543" r:id="rId292"/>
    <p:sldId id="10590" r:id="rId293"/>
    <p:sldId id="10581" r:id="rId294"/>
    <p:sldId id="10582" r:id="rId295"/>
    <p:sldId id="10583" r:id="rId296"/>
    <p:sldId id="10592" r:id="rId297"/>
    <p:sldId id="10584" r:id="rId298"/>
    <p:sldId id="10591" r:id="rId299"/>
    <p:sldId id="10596" r:id="rId300"/>
    <p:sldId id="10593" r:id="rId301"/>
    <p:sldId id="10598" r:id="rId302"/>
    <p:sldId id="10594" r:id="rId303"/>
    <p:sldId id="10595" r:id="rId304"/>
    <p:sldId id="936" r:id="rId305"/>
    <p:sldId id="10587" r:id="rId306"/>
    <p:sldId id="10588" r:id="rId307"/>
    <p:sldId id="823" r:id="rId308"/>
    <p:sldId id="824" r:id="rId309"/>
    <p:sldId id="810" r:id="rId310"/>
    <p:sldId id="10560" r:id="rId311"/>
    <p:sldId id="512" r:id="rId312"/>
    <p:sldId id="10561" r:id="rId313"/>
    <p:sldId id="294" r:id="rId314"/>
    <p:sldId id="332" r:id="rId315"/>
    <p:sldId id="349" r:id="rId316"/>
    <p:sldId id="344" r:id="rId317"/>
    <p:sldId id="333" r:id="rId318"/>
    <p:sldId id="339" r:id="rId319"/>
    <p:sldId id="336" r:id="rId320"/>
    <p:sldId id="337" r:id="rId321"/>
    <p:sldId id="341" r:id="rId322"/>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90"/>
            <p14:sldId id="10581"/>
            <p14:sldId id="10582"/>
            <p14:sldId id="10583"/>
            <p14:sldId id="10592"/>
            <p14:sldId id="10584"/>
            <p14:sldId id="10591"/>
            <p14:sldId id="10596"/>
            <p14:sldId id="10593"/>
            <p14:sldId id="10598"/>
            <p14:sldId id="10594"/>
            <p14:sldId id="10595"/>
          </p14:sldIdLst>
        </p14:section>
        <p14:section name="END" id="{D63A5623-874A-4021-8463-B45A95150954}">
          <p14:sldIdLst>
            <p14:sldId id="936"/>
            <p14:sldId id="10587"/>
            <p14:sldId id="10588"/>
            <p14:sldId id="823"/>
            <p14:sldId id="824"/>
            <p14:sldId id="810"/>
            <p14:sldId id="10560"/>
            <p14:sldId id="512"/>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47" d="100"/>
          <a:sy n="147" d="100"/>
        </p:scale>
        <p:origin x="132" y="23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324" Type="http://schemas.openxmlformats.org/officeDocument/2006/relationships/handoutMaster" Target="handoutMasters/handoutMaster1.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315" Type="http://schemas.openxmlformats.org/officeDocument/2006/relationships/slide" Target="slides/slide312.xml"/><Relationship Id="rId54" Type="http://schemas.openxmlformats.org/officeDocument/2006/relationships/slide" Target="slides/slide51.xml"/><Relationship Id="rId96" Type="http://schemas.openxmlformats.org/officeDocument/2006/relationships/slide" Target="slides/slide93.xml"/><Relationship Id="rId161" Type="http://schemas.openxmlformats.org/officeDocument/2006/relationships/slide" Target="slides/slide158.xml"/><Relationship Id="rId217" Type="http://schemas.openxmlformats.org/officeDocument/2006/relationships/slide" Target="slides/slide214.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326" Type="http://schemas.openxmlformats.org/officeDocument/2006/relationships/presProps" Target="presProps.xml"/><Relationship Id="rId65" Type="http://schemas.openxmlformats.org/officeDocument/2006/relationships/slide" Target="slides/slide62.xml"/><Relationship Id="rId130" Type="http://schemas.openxmlformats.org/officeDocument/2006/relationships/slide" Target="slides/slide127.xml"/><Relationship Id="rId172" Type="http://schemas.openxmlformats.org/officeDocument/2006/relationships/slide" Target="slides/slide169.xml"/><Relationship Id="rId228" Type="http://schemas.openxmlformats.org/officeDocument/2006/relationships/slide" Target="slides/slide225.xml"/><Relationship Id="rId281" Type="http://schemas.openxmlformats.org/officeDocument/2006/relationships/slide" Target="slides/slide278.xml"/><Relationship Id="rId34" Type="http://schemas.openxmlformats.org/officeDocument/2006/relationships/slide" Target="slides/slide31.xml"/><Relationship Id="rId76" Type="http://schemas.openxmlformats.org/officeDocument/2006/relationships/slide" Target="slides/slide73.xml"/><Relationship Id="rId141" Type="http://schemas.openxmlformats.org/officeDocument/2006/relationships/slide" Target="slides/slide138.xml"/><Relationship Id="rId7" Type="http://schemas.openxmlformats.org/officeDocument/2006/relationships/slide" Target="slides/slide4.xml"/><Relationship Id="rId183" Type="http://schemas.openxmlformats.org/officeDocument/2006/relationships/slide" Target="slides/slide180.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327" Type="http://schemas.openxmlformats.org/officeDocument/2006/relationships/viewProps" Target="viewProps.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317" Type="http://schemas.openxmlformats.org/officeDocument/2006/relationships/slide" Target="slides/slide314.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slide" Target="slides/slide290.xml"/><Relationship Id="rId307" Type="http://schemas.openxmlformats.org/officeDocument/2006/relationships/slide" Target="slides/slide304.xml"/><Relationship Id="rId328" Type="http://schemas.openxmlformats.org/officeDocument/2006/relationships/theme" Target="theme/theme1.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318" Type="http://schemas.openxmlformats.org/officeDocument/2006/relationships/slide" Target="slides/slide315.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329"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slide" Target="slides/slide316.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slide" Target="slides/slide317.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321" Type="http://schemas.openxmlformats.org/officeDocument/2006/relationships/slide" Target="slides/slide318.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322" Type="http://schemas.openxmlformats.org/officeDocument/2006/relationships/slide" Target="slides/slide319.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312" Type="http://schemas.openxmlformats.org/officeDocument/2006/relationships/slide" Target="slides/slide309.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slide" Target="slides/slide299.xml"/><Relationship Id="rId323"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313" Type="http://schemas.openxmlformats.org/officeDocument/2006/relationships/slide" Target="slides/slide310.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303" Type="http://schemas.openxmlformats.org/officeDocument/2006/relationships/slide" Target="slides/slide300.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314" Type="http://schemas.openxmlformats.org/officeDocument/2006/relationships/slide" Target="slides/slide311.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325" Type="http://schemas.openxmlformats.org/officeDocument/2006/relationships/commentAuthors" Target="commentAuthors.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 Id="rId75" Type="http://schemas.openxmlformats.org/officeDocument/2006/relationships/slide" Target="slides/slide72.xml"/><Relationship Id="rId140" Type="http://schemas.openxmlformats.org/officeDocument/2006/relationships/slide" Target="slides/slide137.xml"/><Relationship Id="rId182" Type="http://schemas.openxmlformats.org/officeDocument/2006/relationships/slide" Target="slides/slide179.xml"/><Relationship Id="rId6" Type="http://schemas.openxmlformats.org/officeDocument/2006/relationships/slide" Target="slides/slide3.xml"/><Relationship Id="rId238" Type="http://schemas.openxmlformats.org/officeDocument/2006/relationships/slide" Target="slides/slide235.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86" Type="http://schemas.openxmlformats.org/officeDocument/2006/relationships/slide" Target="slides/slide83.xml"/><Relationship Id="rId151" Type="http://schemas.openxmlformats.org/officeDocument/2006/relationships/slide" Target="slides/slide148.xml"/><Relationship Id="rId193" Type="http://schemas.openxmlformats.org/officeDocument/2006/relationships/slide" Target="slides/slide190.xml"/><Relationship Id="rId207" Type="http://schemas.openxmlformats.org/officeDocument/2006/relationships/slide" Target="slides/slide204.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316" Type="http://schemas.openxmlformats.org/officeDocument/2006/relationships/slide" Target="slides/slide313.xml"/><Relationship Id="rId55" Type="http://schemas.openxmlformats.org/officeDocument/2006/relationships/slide" Target="slides/slide52.xml"/><Relationship Id="rId97" Type="http://schemas.openxmlformats.org/officeDocument/2006/relationships/slide" Target="slides/slide94.xml"/><Relationship Id="rId120" Type="http://schemas.openxmlformats.org/officeDocument/2006/relationships/slide" Target="slides/slide117.xml"/><Relationship Id="rId162" Type="http://schemas.openxmlformats.org/officeDocument/2006/relationships/slide" Target="slides/slide159.xml"/><Relationship Id="rId218" Type="http://schemas.openxmlformats.org/officeDocument/2006/relationships/slide" Target="slides/slide2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1/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305.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305</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3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2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0027"/>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1/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20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7"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4.png"/></Relationships>
</file>

<file path=ppt/slides/_rels/slide266.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18.xml"/></Relationships>
</file>

<file path=ppt/slides/_rels/slide295.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2" Type="http://schemas.openxmlformats.org/officeDocument/2006/relationships/image" Target="../media/image367.png"/><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18.xml"/></Relationships>
</file>

<file path=ppt/slides/_rels/slide299.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18.xml"/></Relationships>
</file>

<file path=ppt/slides/_rels/slide301.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18.xml"/></Relationships>
</file>

<file path=ppt/slides/_rels/slide302.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58.xml"/><Relationship Id="rId1" Type="http://schemas.openxmlformats.org/officeDocument/2006/relationships/slideLayout" Target="../slideLayouts/slideLayout29.xml"/><Relationship Id="rId4" Type="http://schemas.openxmlformats.org/officeDocument/2006/relationships/image" Target="../media/image373.png"/></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5.xml.rels><?xml version="1.0" encoding="UTF-8" standalone="yes"?>
<Relationships xmlns="http://schemas.openxmlformats.org/package/2006/relationships"><Relationship Id="rId8" Type="http://schemas.openxmlformats.org/officeDocument/2006/relationships/hyperlink" Target="https://docs.microsoft.com/powerapps/maker/canvas-apps/add-scrolling-screen" TargetMode="External"/><Relationship Id="rId3" Type="http://schemas.openxmlformats.org/officeDocument/2006/relationships/hyperlink" Target="http://fleitasarts.com/" TargetMode="External"/><Relationship Id="rId7" Type="http://schemas.openxmlformats.org/officeDocument/2006/relationships/hyperlink" Target="https://youtu.be/swpjfIyXCNA" TargetMode="External"/><Relationship Id="rId2" Type="http://schemas.openxmlformats.org/officeDocument/2006/relationships/notesSlide" Target="../notesSlides/notesSlide259.xml"/><Relationship Id="rId1" Type="http://schemas.openxmlformats.org/officeDocument/2006/relationships/slideLayout" Target="../slideLayouts/slideLayout8.xml"/><Relationship Id="rId6" Type="http://schemas.openxmlformats.org/officeDocument/2006/relationships/hyperlink" Target="https://docs.microsoft.com/power-platform/admin/pricing-billing-skus" TargetMode="External"/><Relationship Id="rId5" Type="http://schemas.openxmlformats.org/officeDocument/2006/relationships/hyperlink" Target="https://docs.microsoft.com/learn/browse/?products=power-platform" TargetMode="External"/><Relationship Id="rId4" Type="http://schemas.openxmlformats.org/officeDocument/2006/relationships/hyperlink" Target="https://github.com/hfleitas/seattle2019" TargetMode="External"/><Relationship Id="rId9" Type="http://schemas.openxmlformats.org/officeDocument/2006/relationships/hyperlink" Target="https://youtu.be/rcrubFa8758" TargetMode="External"/></Relationships>
</file>

<file path=ppt/slides/_rels/slide306.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307.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74.png"/></Relationships>
</file>

<file path=ppt/slides/_rels/slide30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1.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75.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000147"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29CC8C-E4D5-470C-9E6E-996C9F72C76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075358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551A5C2-C923-4D46-AC3D-481D4DE9584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3653884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73525-3A71-454E-B431-1EB6BCDBA409}"/>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7538768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124B7E-AA97-4CFB-AB2A-47D77A5A0FA3}"/>
              </a:ext>
            </a:extLst>
          </p:cNvPr>
          <p:cNvPicPr>
            <a:picLocks noChangeAspect="1"/>
          </p:cNvPicPr>
          <p:nvPr/>
        </p:nvPicPr>
        <p:blipFill>
          <a:blip r:embed="rId2"/>
          <a:stretch>
            <a:fillRect/>
          </a:stretch>
        </p:blipFill>
        <p:spPr>
          <a:xfrm>
            <a:off x="0" y="983"/>
            <a:ext cx="9144000" cy="5141533"/>
          </a:xfrm>
          <a:prstGeom prst="rect">
            <a:avLst/>
          </a:prstGeom>
        </p:spPr>
      </p:pic>
      <p:sp>
        <p:nvSpPr>
          <p:cNvPr id="3" name="Rectangle 2">
            <a:extLst>
              <a:ext uri="{FF2B5EF4-FFF2-40B4-BE49-F238E27FC236}">
                <a16:creationId xmlns:a16="http://schemas.microsoft.com/office/drawing/2014/main" id="{B60C7DD3-9977-46A5-B3E5-49DA96CD008B}"/>
              </a:ext>
            </a:extLst>
          </p:cNvPr>
          <p:cNvSpPr/>
          <p:nvPr/>
        </p:nvSpPr>
        <p:spPr>
          <a:xfrm>
            <a:off x="6530974" y="2259807"/>
            <a:ext cx="622301" cy="3047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6078135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871B94-EB7B-454A-A4C8-D7A799484D15}"/>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153174126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125DA7-BF05-4ADD-8FF2-01ADCECF5A3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18504106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306837-0522-4831-BAC9-96012809932C}"/>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35351834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63016-328F-4978-856F-54E435953717}"/>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75859913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ack&#10;&#10;Description automatically generated">
            <a:extLst>
              <a:ext uri="{FF2B5EF4-FFF2-40B4-BE49-F238E27FC236}">
                <a16:creationId xmlns:a16="http://schemas.microsoft.com/office/drawing/2014/main" id="{835C9B0F-6C63-4EEB-9035-3146CE9E0E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128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D4C72E-6D8D-489E-AC49-737E9AEE82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29437005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132E31-0063-4C03-8B5C-3DA4A629B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308020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ansport&#10;&#10;Description automatically generated">
            <a:extLst>
              <a:ext uri="{FF2B5EF4-FFF2-40B4-BE49-F238E27FC236}">
                <a16:creationId xmlns:a16="http://schemas.microsoft.com/office/drawing/2014/main" id="{CA85BAC2-D334-4251-ADFB-F97D81D6B2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5080248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black&#10;&#10;Description automatically generated">
            <a:extLst>
              <a:ext uri="{FF2B5EF4-FFF2-40B4-BE49-F238E27FC236}">
                <a16:creationId xmlns:a16="http://schemas.microsoft.com/office/drawing/2014/main" id="{24BE0A20-149D-4B1A-AD76-A0E0311919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2708053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hlinkClick r:id="rId3"/>
              </a:rPr>
              <a:t>fleitasarts.com</a:t>
            </a:r>
            <a:endParaRPr lang="en-US" dirty="0"/>
          </a:p>
          <a:p>
            <a:r>
              <a:rPr lang="en-US" dirty="0">
                <a:hlinkClick r:id="rId4"/>
              </a:rPr>
              <a:t>github.com/hfleitas/seattle2019</a:t>
            </a:r>
            <a:endParaRPr lang="en-US" dirty="0"/>
          </a:p>
          <a:p>
            <a:r>
              <a:rPr lang="en-US" dirty="0">
                <a:hlinkClick r:id="rId5"/>
              </a:rPr>
              <a:t>Microsoft Learn</a:t>
            </a:r>
            <a:endParaRPr lang="en-US" dirty="0"/>
          </a:p>
          <a:p>
            <a:r>
              <a:rPr lang="en-US" dirty="0">
                <a:hlinkClick r:id="rId6"/>
              </a:rPr>
              <a:t>Pricing</a:t>
            </a:r>
            <a:endParaRPr lang="en-US" dirty="0"/>
          </a:p>
          <a:p>
            <a:r>
              <a:rPr lang="en-US" dirty="0">
                <a:hlinkClick r:id="rId7"/>
              </a:rPr>
              <a:t>Integrating Bing Maps with GPS</a:t>
            </a:r>
            <a:endParaRPr lang="en-US" dirty="0"/>
          </a:p>
          <a:p>
            <a:r>
              <a:rPr lang="en-US" dirty="0">
                <a:hlinkClick r:id="rId8"/>
              </a:rPr>
              <a:t>Scrolling Screen</a:t>
            </a:r>
            <a:endParaRPr lang="en-US" dirty="0"/>
          </a:p>
          <a:p>
            <a:r>
              <a:rPr lang="en-US" dirty="0">
                <a:hlinkClick r:id="rId9"/>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7081"/>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858717"/>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858717"/>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4140170"/>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567638"/>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99707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567639"/>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424743"/>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99309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4140541"/>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423076"/>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29" name="Text Placeholder 9">
            <a:extLst>
              <a:ext uri="{FF2B5EF4-FFF2-40B4-BE49-F238E27FC236}">
                <a16:creationId xmlns:a16="http://schemas.microsoft.com/office/drawing/2014/main" id="{E0DAA1A6-7EC9-4C9E-9E7C-C746D36EE769}"/>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3910863000"/>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721</TotalTime>
  <Words>12231</Words>
  <Application>Microsoft Office PowerPoint</Application>
  <PresentationFormat>On-screen Show (16:9)</PresentationFormat>
  <Paragraphs>1463</Paragraphs>
  <Slides>319</Slides>
  <Notes>261</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9</vt:i4>
      </vt:variant>
    </vt:vector>
  </HeadingPairs>
  <TitlesOfParts>
    <vt:vector size="335"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52</cp:revision>
  <dcterms:created xsi:type="dcterms:W3CDTF">2013-07-12T18:23:55Z</dcterms:created>
  <dcterms:modified xsi:type="dcterms:W3CDTF">2019-11-01T02:40:28Z</dcterms:modified>
  <cp:category>Develop</cp:category>
  <cp:contentStatus/>
</cp:coreProperties>
</file>